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notesSlides/notesSlide4.xml" ContentType="application/vnd.openxmlformats-officedocument.presentationml.notesSlide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notesSlides/notesSlide5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6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7.xml" ContentType="application/vnd.openxmlformats-officedocument.presentationml.notesSlide+xml"/>
  <Override PartName="/ppt/comments/comment7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8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9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10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11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12.xml" ContentType="application/vnd.openxmlformats-officedocument.presentationml.comments+xml"/>
  <Override PartName="/ppt/notesSlides/notesSlide13.xml" ContentType="application/vnd.openxmlformats-officedocument.presentationml.notesSlide+xml"/>
  <Override PartName="/ppt/comments/comment13.xml" ContentType="application/vnd.openxmlformats-officedocument.presentationml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7"/>
  </p:notesMasterIdLst>
  <p:handoutMasterIdLst>
    <p:handoutMasterId r:id="rId28"/>
  </p:handoutMasterIdLst>
  <p:sldIdLst>
    <p:sldId id="321" r:id="rId5"/>
    <p:sldId id="256" r:id="rId6"/>
    <p:sldId id="269" r:id="rId7"/>
    <p:sldId id="343" r:id="rId8"/>
    <p:sldId id="322" r:id="rId9"/>
    <p:sldId id="323" r:id="rId10"/>
    <p:sldId id="325" r:id="rId11"/>
    <p:sldId id="367" r:id="rId12"/>
    <p:sldId id="326" r:id="rId13"/>
    <p:sldId id="369" r:id="rId14"/>
    <p:sldId id="328" r:id="rId15"/>
    <p:sldId id="336" r:id="rId16"/>
    <p:sldId id="354" r:id="rId17"/>
    <p:sldId id="333" r:id="rId18"/>
    <p:sldId id="332" r:id="rId19"/>
    <p:sldId id="365" r:id="rId20"/>
    <p:sldId id="338" r:id="rId21"/>
    <p:sldId id="362" r:id="rId22"/>
    <p:sldId id="329" r:id="rId23"/>
    <p:sldId id="364" r:id="rId24"/>
    <p:sldId id="366" r:id="rId25"/>
    <p:sldId id="359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guyen Vo An Khoa" initials="NVAK" lastIdx="55" clrIdx="0">
    <p:extLst>
      <p:ext uri="{19B8F6BF-5375-455C-9EA6-DF929625EA0E}">
        <p15:presenceInfo xmlns:p15="http://schemas.microsoft.com/office/powerpoint/2012/main" userId="3afd33be3519e98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04" autoAdjust="0"/>
    <p:restoredTop sz="95806" autoAdjust="0"/>
  </p:normalViewPr>
  <p:slideViewPr>
    <p:cSldViewPr snapToGrid="0">
      <p:cViewPr varScale="1">
        <p:scale>
          <a:sx n="80" d="100"/>
          <a:sy n="80" d="100"/>
        </p:scale>
        <p:origin x="77" y="35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3:02:52.536" idx="48">
    <p:pos x="6393" y="868"/>
    <p:text>WITH latest_tags AS (
SELECT TOP 10 st.tag_id,
        COUNT(el.id) AS tag_count
    FROM EventLog el 
JOIN SourceTag st 
    ON el.source_id = st.source_id 
        AND el.source_type_id = st.source_type_id
    WHERE el.user_id = 7
    GROUP BY  st.tag_id
ORDER BY  tag_count DESC
)
SELECT c.id, c.name, c.price, COUNT(r.source_id) AS review_count, AVG(r.rating_star) AS rating_star, COUNT(st.tag_id) AS tag_similar_count
FROM 
	latest_tags lt
	JOIN SourceTag st 
		ON lt.tag_id = st.tag_id 
	JOIN Course c 
		ON st.source_id = c.id
	LEFT
JOIN review r
    ON r.source_id = c.id
        AND r.source_type = (
		SELECT setting_value FROM GetSettingValue('SourceType', 'course')
	)
GROUP BY 
 c.id, 
 c.name, 
 c.price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5:44.211" idx="12">
    <p:pos x="5851" y="1037"/>
    <p:text>SELECT name from tag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6:04.132" idx="13">
    <p:pos x="6625" y="600"/>
    <p:text>SELECT name, summary, attempts_allowed, passing_grade, duration FROM quiz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6:13.414" idx="14">
    <p:pos x="6702" y="1675"/>
    <p:text>SELECT type FROM questiontype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6:50.586" idx="16">
    <p:pos x="6278" y="484"/>
    <p:text>SELECT content, asset_id, is_correct FROM answ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8:33.336" idx="21">
    <p:pos x="2984" y="375"/>
    <p:text>SELECT sum(price) as total_revenue FROM menteecourse me join course c on me.course_id = c.id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8:41.868" idx="22">
    <p:pos x="4225" y="378"/>
    <p:text>SELECT COUNT(*) as total_mentor FROM [user] where role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9:13.447" idx="23">
    <p:pos x="3622" y="376"/>
    <p:text>SELECT COUNT(*) as total_mentee FROM [user] where role_id = 3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9:59.165" idx="24">
    <p:pos x="4835" y="378"/>
    <p:text>SELECT
    COUNT(*) AS total_enrollment
FROM
    menteecourse
WHERE
    enroll_at IS NOT NULL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0:21.118" idx="25">
    <p:pos x="3312" y="825"/>
    <p:text>SELECT
    SUM(price) AS monthly_sale
FROM
    course c
    JOIN menteecourse mc ON c.id = mc.course_id
WHERE
    MONTH(mc.enroll_at) = MONTH(CURRENT_TIMESTAMP)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0:34.931" idx="26">
    <p:pos x="4569" y="789"/>
    <p:text>SELECT
    SUM(c.price) AS weekly_sale
FROM
    course c
    JOIN menteecourse mc ON c.id = mc.course_id
WHERE
    DATEPART(YEAR, mc.enroll_at) = DATEPART(YEAR, GETDATE()) and DATEPART(WEEK, mc.enroll_at) = DATEPART(WEEK, GETDATE())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2:38.463" idx="28">
    <p:pos x="3331" y="1272"/>
    <p:text>WITH cte AS (
    SELECT
        DATEPART(DAY, online_date) AS onl_date,
        DATEPART(HOUR, online_time) + (DATEPART(MINUTE, online_time) / 60.0) AS onl_time
    FROM
        UserOnline
)
SELECT
    onl_date,
    SUM(onl_time) AS total_time
FROM
    cte
GROUP BY
    onl_date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2:48.291" idx="29">
    <p:pos x="4611" y="2243"/>
    <p:text>WITH day_sell AS (
    SELECT
        COUNT(*) AS total_sells,
        category_id
    FROM
        course
    WHERE
        DATEDIFF(day, CURRENT_TIMESTAMP, created_at) &lt; 15
    GROUP BY
        category_id
),
day_buy AS (
    SELECT
        COUNT(course_id) AS total_buy,
        category_id
    FROM
        course c
        JOIN menteecourse m ON c.id = m.course_id
    GROUP BY
        category_id
)
SELECT
    sell.total_sells,
    buy.total_buy,
    category.name
FROM
    day_sell AS sell
    JOIN day_buy AS buy ON sell.category_id = buy.category_id
    JOIN category ON sell.category_id = category.id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3:11.885" idx="30">
    <p:pos x="3106" y="3151"/>
    <p:text>WITH rating AS (
    SELECT
        AVG(rating_star) AS average_star,
        mentor_id
    FROM
        Review r
        JOIN course c ON r.source_id = c.id
    GROUP BY
        mentor_id
)
SELECT
    rating.average_star,
    c.mentor_id,
    COUNT(c.mentor_id) AS enroll_per_mentor
FROM
    course c
    JOIN menteecourse m ON c.id = m.course_id
    JOIN rating ON c.mentor_id = rating.mentor_id
GROUP BY
    c.mentor_id, rating.average_star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3:37.526" idx="31">
    <p:pos x="3256" y="2197"/>
    <p:text>SELECT top 5
    COUNT(m.course_id) AS enroll_num,
    c.name,
    c.price,
    SUM(c.price) AS total_sale
FROM
    menteecourse m
    JOIN course c ON m.course_id = c.id
WHERE
    DATEDIFF(day, CURRENT_TIMESTAMP, m.enroll_at) &lt;= 7
GROUP BY
    c.name, c.price</p:text>
    <p:extLst>
      <p:ext uri="{C676402C-5697-4E1C-873F-D02D1690AC5C}">
        <p15:threadingInfo xmlns:p15="http://schemas.microsoft.com/office/powerpoint/2012/main" timeZoneBias="-420"/>
      </p:ext>
    </p:extLst>
  </p:cm>
  <p:cm authorId="1" dt="2024-07-11T15:16:54.994" idx="55">
    <p:pos x="4489" y="1266"/>
    <p:text>SELECT gender, count(*) as enroll_num,  create_at
FROM [User]
WHERE DATEDIFF(DAY, create_at, CURRENT_TIMESTAMP) &lt; (SELECT setting_value FROM GetSettingValue('Criteria', 'New Mentee')) AND role_id = 3
GROUP BY gender, create_at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1:16:08.239" idx="5">
    <p:pos x="4496" y="2330"/>
    <p:text>WITH monthly_enrollments AS (
    SELECT 
        course_id, FORMAT(enroll_at, 'yyyy-MM') AS month,
        COUNT(*) AS enrollments
    FROM 
        MenteeCourse
    GROUP BY 
        course_id, FORMAT(enroll_at, 'yyyy-MM')
)
SELECT 
	course_id,
    month,
    enrollments,
    LAG(enrollments) OVER (ORDER BY month) AS previous_month_enrollments,
    CASE
        WHEN LAG(enrollments) OVER (ORDER BY month) IS NULL THEN 0
        ELSE (enrollments - LAG(enrollments) OVER (ORDER BY month)) * 100.0 / LAG(enrollments) OVER (ORDER BY month)
    END AS growth_rate
FROM 
    monthly_enrollments
WHERE
	month = FORMAT(DATEADD(MONTH, 0, GETDATE()), 'yyyy-MM')
ORDER BY 
    course_id, 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1:20:43.611" idx="9">
    <p:pos x="4468" y="777"/>
    <p:text>SELECT 
    c.id, 
    c.name, 
    c.price, 
	COUNT(r.source_id) AS review_count,
    AVG(r.rating_star) AS rating_star,
    COUNT(el.user_id) AS view_count
FROM 
    EventLog el
    JOIN Course c ON el.source_id = c.id AND el.source_type_id = (
       SELECT setting_value FROM GetSettingValue('SourceType', 'course')
    )
	LEFT JOIN review r ON r.source_id = c.id AND r.source_type_id = (
	   SELECT setting_value FROM GetSettingValue('SourceType', 'course')
	)
GROUP BY 
    c.id, 
    c.name, 
    c.price
ORDER BY view_count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1:16:31.239" idx="6">
    <p:pos x="5878" y="2487"/>
    <p:text>WITH lesson_count AS (
    SELECT
        s.id,
        s.course_id,
        s.name,
        COUNT(l.id) AS lesson_per_section
    FROM
        section s
        JOIN lesson l ON s.id = l.section_id
    GROUP BY
        s.id,
        s.name,
		s.course_id
),
section_count AS (
    SELECT
        course_id,
        SUM(lesson_per_section) AS total_lesson,
        COUNT(lesson_per_section) AS total_section
    FROM
        lesson_count
    GROUP BY
        course_id
),
review_count AS (
    SELECT
        source_id,
        COUNT(source_id) AS total_review,
        AVG(rating_star) AS avg_star
    FROM
        Review
    GROUP BY
        source_id
)
SELECT
    c.name,
    c.price,
    u.name,
    u.asset_id,
    c.description,
    s.total_lesson,
    s.total_section,
    r.total_review,
    ROUND(r.avg_star, 1) AS avg_star
FROM
    Course c
    JOIN [user] u ON c.mentor_id = u.id
    JOIN section_count s ON c.id = s.course_id
    JOIN review_count r ON c.id = r.source_id
WHERE
    c.id = 1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3:13:04.740" idx="49">
    <p:pos x="5460" y="834"/>
    <p:text>SELECT 
    u.name, rating_star, content, review_at
FROM
    Review r
        JOIN
    [user] u ON r.user_id = u.id
WHERE
    r.source_id = 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3:35:04.096" idx="54">
    <p:pos x="5352" y="2028"/>
    <p:text>with cte as (SELECT 
    id, category_id
FROM
    course
WHERE
    id = 1)
SELECT 
    name AS course_name, price, mentor_id
FROM
    course
        JOIN
    cte ON cte.category_id = course.category_id
        AND course.id != cte.id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1:17:12.212" idx="7">
    <p:pos x="5129" y="2595"/>
    <p:text>SELECT
    l.id,
    l.title,
    l.transcript,
    l.summary,
    l.asset_id,
    u.name,
    d.content
FROM
    Lesson l
    JOIN discussion d ON l.id = d.lesson_id
    JOIN [user] u ON u.id = d.user_id
WHERE
    l.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1:17:19.819" idx="8">
    <p:pos x="6715" y="933"/>
    <p:text>SELECT
    s.name AS section_name,
    l.id,
    l.title
FROM
    section s
    JOIN lesson l ON s.id = l.section_id
WHERE
    s.id = 1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34:14.870" idx="32">
    <p:pos x="6190" y="717"/>
    <p:text>SELECT
    l.title,
    l.description,
    u.name,
    l.created_at
FROM
    learningpath l
    JOIN [user] u ON l.mentor_id = u.id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35:23.058" idx="33">
    <p:pos x="2515" y="1039"/>
    <p:text>SELECT
    COUNT(*) AS total_course
FROM
    menteecourse
WHERE
    mentee_id = 1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5:33.637" idx="34">
    <p:pos x="3398" y="1038"/>
    <p:text>SELECT
    COUNT(*) AS complete_course
FROM
    menteecourse
WHERE
    mentee_id = 11
    AND cert_id IS NOT NULL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6:17.856" idx="35">
    <p:pos x="4358" y="1015"/>
    <p:text>SELECT
    COUNT(*) AS total_quiz
FROM
    quizresult
WHERE
    mentee_id = 1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6:29.700" idx="36">
    <p:pos x="5034" y="1007"/>
    <p:text>SELECT count(*) as pass_quiz FROM quizresult where  mentee_id = 11 and result = 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6:43.888" idx="37">
    <p:pos x="3483" y="1760"/>
    <p:text>SELECT
    me.course_id,
    me.progress,
    c.name,
    CASE
        WHEN me.progress = 0 THEN 'Pending'
        WHEN me.progress &lt; 100 THEN 'Processing'
        ELSE 'Completed'
    END AS tag
FROM
    menteecourse me
    JOIN course c ON me.course_id = c.id
WHERE
    me.mentee_id = 1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7:13.122" idx="38">
    <p:pos x="5188" y="1752"/>
    <p:text>SELECT
    status,
    ROUND((COUNT(*) * 100.0 / total_courses), 2) AS percentage
FROM
    (
        SELECT
            CASE
                WHEN progress = 0 THEN 'Pending'
                WHEN progress &lt; 100 THEN 'Processing'
                ELSE 'Completed'
            END AS status,
            COUNT(*) OVER() AS total_courses
        FROM
            menteecourse me
            JOIN course c ON me.course_id = c.id
        WHERE
            mentee_id = 11
    ) subquery
GROUP BY
    status, total_courses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7:25.762" idx="39">
    <p:pos x="3805" y="2935"/>
    <p:text>SELECT
    SUM(DATEPART(HOUR, online_time) + (DATEPART(MINUTE, online_time) / 60.0)) AS total_online_time,
    MONTH(online_date) AS monthly
FROM
    UserOnline
WHERE
    user_id = 7
GROUP BY MONTH(online_date)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7:40.325" idx="40">
    <p:pos x="5388" y="2920"/>
    <p:text>SELECT
    s.name AS section_name,
    q.name AS quiz_name
FROM
    menteecourse mc
    JOIN section s ON mc.course_id = s.course_id
    JOIN quiz q ON s.id = q.section_id
WHERE
    mc.mentee_id = 11
    AND q.id NOT IN (
        SELECT
            quiz_id
        FROM
            quizresult
        WHERE
            mentee_id = 11
            AND result = 1
    )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38:11.559" idx="41">
    <p:pos x="2636" y="1086"/>
    <p:text>SELECT
    SUM(price) AS revenue
FROM
    course c
    JOIN menteecourse mc ON c.id = mc.course_id AND 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18.575" idx="42">
    <p:pos x="3864" y="1086"/>
    <p:text>SELECT
    COUNT(id) AS total_course
FROM
    course
WHERE
    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30.966" idx="43">
    <p:pos x="5024" y="1101"/>
    <p:text>SELECT
    COUNT(DISTINCT mentee_id) AS total_student
FROM
    course c
    JOIN menteecourse mc ON c.id = mc.course_id AND c.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40.903" idx="44">
    <p:pos x="3181" y="1977"/>
    <p:text>SELECT COUNT(*) 
   FROM UserOnline 
WHERE DATEPART(DAY, online_date) = DATEPART(DAY, CURRENT_TIMESTAMP)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47.559" idx="45">
    <p:pos x="4586" y="2007"/>
    <p:text>SELECT
    COUNT(*) AS new_enrollment
FROM
    course c
    JOIN menteecourse mc ON c.id = mc.course_id
WHERE
    DATEDIFF(DAY,CURRENT_TIMESTAMP, enroll_at) &lt; 7
    AND 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9:07.434" idx="46">
    <p:pos x="2981" y="2760"/>
    <p:text>WITH cte AS (
    SELECT 
        mc.course_id, 
        COUNT(mc.course_id) AS enroll_nums 
    FROM 
        MenteeCourse mc 
    JOIN 
        Course c ON mc.course_id = c.id
    GROUP BY 
        mc.course_id
),
enrollments AS (
    SELECT 
        course_id, 
        enroll_nums * 1.0 / (SELECT MAX(enroll_nums) FROM cte) AS enroll_nums 
    FROM 
        cte
),
completion AS (
    SELECT 
        mc.course_id,
        SUM(CASE WHEN mc.cert_id IS NOT NULL THEN 1 ELSE 0 END) * 1.0 / COUNT(*) AS complete
    FROM 
        MenteeCourse mc
    JOIN 
        Course c ON mc.course_id = c.id
    GROUP BY 
        mc.course_id
),
rating AS (
    SELECT 
        source_id, 
        AVG(rating_star) * 1.0 / 5 AS avg_rating 
    FROM 
        Review 
    WHERE 
        source_type_id = (SELECT setting_value FROM GetSettingValue('SourceType', 'course'))
    GROUP BY 
        source_id
),
total AS (
    SELECT 
        e.course_id, 
        enroll_nums * (SELECT setting_value FROM GetSettingValue('Criteria', 'Enrollments')) AS e_weight, 
        complete * (SELECT setting_value FROM GetSettingValue('Criteria', 'Completion Rate')) AS c_weight,
        avg_rating * (SELECT setting_value FROM GetSettingValue('Criteria', 'Average Learner Rating')) AS a_weight 
    FROM 
        enrollments e 
    JOIN 
        completion c ON e.course_id = c.course_id 
    JOIN 
        rating r ON e.course_id = r.source_id
)
SELECT 
    t.course_id, 
    c.name, 
    c.price,
    t.e_weight + t.c_weight + t.a_weight AS points 
FROM 
    total t 
JOIN 
    Course c ON t.course_id = c.id 
WHERE 
    c.mentor_id = 2 
ORDER BY 
    points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9:21.357" idx="47">
    <p:pos x="5009" y="2699"/>
    <p:text>SELECT top 5 rating_star,
        u.name FROM review r
JOIN course c
    ON source_id = c.id
        AND c.mentor_id = 2
JOIN [user] u
    ON r.mentee_id = u.id ORDER BY r.review_at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3:51.347" idx="10">
    <p:pos x="5307" y="1673"/>
    <p:text>SELECT name FROM category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4:02.909" idx="11">
    <p:pos x="5483" y="2572"/>
    <p:text>SELECT source_id, asset_id 
FROM SourceImage 
WHERE source_type_id = (SELECT value FROM Setting WHERE type = 'SourceType' AND name = 'course');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1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1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12787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name, summary, </a:t>
            </a:r>
            <a:r>
              <a:rPr lang="en-US" dirty="0" err="1"/>
              <a:t>attempts_allowed</a:t>
            </a:r>
            <a:r>
              <a:rPr lang="en-US" dirty="0"/>
              <a:t>, </a:t>
            </a:r>
            <a:r>
              <a:rPr lang="en-US" dirty="0" err="1"/>
              <a:t>passing_grade</a:t>
            </a:r>
            <a:r>
              <a:rPr lang="en-US" dirty="0"/>
              <a:t>, duration FROM quiz;</a:t>
            </a:r>
          </a:p>
          <a:p>
            <a:r>
              <a:rPr lang="en-US" dirty="0"/>
              <a:t>SELECT type FROM </a:t>
            </a:r>
            <a:r>
              <a:rPr lang="en-US" dirty="0" err="1"/>
              <a:t>questiontype</a:t>
            </a:r>
            <a:r>
              <a:rPr lang="en-US" dirty="0"/>
              <a:t>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762653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content, </a:t>
            </a:r>
            <a:r>
              <a:rPr lang="en-US" dirty="0" err="1"/>
              <a:t>asset_id</a:t>
            </a:r>
            <a:r>
              <a:rPr lang="en-US" dirty="0"/>
              <a:t>, </a:t>
            </a:r>
            <a:r>
              <a:rPr lang="en-US" dirty="0" err="1"/>
              <a:t>is_correct</a:t>
            </a:r>
            <a:r>
              <a:rPr lang="en-US" dirty="0"/>
              <a:t> FROM answer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247507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sum(price) as </a:t>
            </a:r>
            <a:r>
              <a:rPr lang="en-US" dirty="0" err="1"/>
              <a:t>total_revenue</a:t>
            </a:r>
            <a:r>
              <a:rPr lang="en-US" dirty="0"/>
              <a:t> FROM </a:t>
            </a:r>
            <a:r>
              <a:rPr lang="en-US" dirty="0" err="1"/>
              <a:t>lms.menteecourse</a:t>
            </a:r>
            <a:r>
              <a:rPr lang="en-US" dirty="0"/>
              <a:t> me join course c on </a:t>
            </a:r>
            <a:r>
              <a:rPr lang="en-US" dirty="0" err="1"/>
              <a:t>me.course_id</a:t>
            </a:r>
            <a:r>
              <a:rPr lang="en-US" dirty="0"/>
              <a:t> = c.id;</a:t>
            </a:r>
          </a:p>
          <a:p>
            <a:r>
              <a:rPr lang="en-US" dirty="0"/>
              <a:t>SELECT COUNT(*) as </a:t>
            </a:r>
            <a:r>
              <a:rPr lang="en-US" dirty="0" err="1"/>
              <a:t>total_memtor</a:t>
            </a:r>
            <a:r>
              <a:rPr lang="en-US" dirty="0"/>
              <a:t> FROM user where role = 2;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COUNT(*) as </a:t>
            </a:r>
            <a:r>
              <a:rPr lang="en-US" dirty="0" err="1"/>
              <a:t>total_memtee</a:t>
            </a:r>
            <a:r>
              <a:rPr lang="en-US" dirty="0"/>
              <a:t> FROM user where role = 3;</a:t>
            </a:r>
          </a:p>
          <a:p>
            <a:r>
              <a:rPr lang="en-US" dirty="0"/>
              <a:t>SELECT     COUNT(*) AS </a:t>
            </a:r>
            <a:r>
              <a:rPr lang="en-US" dirty="0" err="1"/>
              <a:t>total_enrollmentFROM</a:t>
            </a:r>
            <a:r>
              <a:rPr lang="en-US" dirty="0"/>
              <a:t>    </a:t>
            </a:r>
            <a:r>
              <a:rPr lang="en-US" dirty="0" err="1"/>
              <a:t>menteecourseWHERE</a:t>
            </a:r>
            <a:r>
              <a:rPr lang="en-US" dirty="0"/>
              <a:t>    </a:t>
            </a:r>
            <a:r>
              <a:rPr lang="en-US" dirty="0" err="1"/>
              <a:t>enroll_at</a:t>
            </a:r>
            <a:r>
              <a:rPr lang="en-US" dirty="0"/>
              <a:t> IS NOT NULL;</a:t>
            </a:r>
          </a:p>
          <a:p>
            <a:r>
              <a:rPr lang="en-US" dirty="0"/>
              <a:t>SELECT     SUM(price) AS </a:t>
            </a:r>
            <a:r>
              <a:rPr lang="en-US" dirty="0" err="1"/>
              <a:t>monthly_sale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MONTH(</a:t>
            </a:r>
            <a:r>
              <a:rPr lang="en-US" dirty="0" err="1"/>
              <a:t>mc.enroll_at</a:t>
            </a:r>
            <a:r>
              <a:rPr lang="en-US" dirty="0"/>
              <a:t>) = MONTH(CURRENT_TIMESTAMP);</a:t>
            </a:r>
          </a:p>
          <a:p>
            <a:r>
              <a:rPr lang="en-US" dirty="0"/>
              <a:t>SELECT     SUM(price) AS </a:t>
            </a:r>
            <a:r>
              <a:rPr lang="en-US" dirty="0" err="1"/>
              <a:t>weeekly_sale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WEEK(</a:t>
            </a:r>
            <a:r>
              <a:rPr lang="en-US" dirty="0" err="1"/>
              <a:t>mc.enroll_at</a:t>
            </a:r>
            <a:r>
              <a:rPr lang="en-US" dirty="0"/>
              <a:t>) = WEEK(CURRENT_TIMESTAMP);</a:t>
            </a:r>
          </a:p>
          <a:p>
            <a:r>
              <a:rPr lang="en-US" dirty="0"/>
              <a:t>with </a:t>
            </a:r>
            <a:r>
              <a:rPr lang="en-US" dirty="0" err="1"/>
              <a:t>cte</a:t>
            </a:r>
            <a:r>
              <a:rPr lang="en-US" dirty="0"/>
              <a:t> as (SELECT     DATE(</a:t>
            </a:r>
            <a:r>
              <a:rPr lang="en-US" dirty="0" err="1"/>
              <a:t>online_time</a:t>
            </a:r>
            <a:r>
              <a:rPr lang="en-US" dirty="0"/>
              <a:t>) AS </a:t>
            </a:r>
            <a:r>
              <a:rPr lang="en-US" dirty="0" err="1"/>
              <a:t>onl_date</a:t>
            </a:r>
            <a:r>
              <a:rPr lang="en-US" dirty="0"/>
              <a:t>,    ROUND(HOUR(</a:t>
            </a:r>
            <a:r>
              <a:rPr lang="en-US" dirty="0" err="1"/>
              <a:t>online_time</a:t>
            </a:r>
            <a:r>
              <a:rPr lang="en-US" dirty="0"/>
              <a:t>) + MINUTE(</a:t>
            </a:r>
            <a:r>
              <a:rPr lang="en-US" dirty="0" err="1"/>
              <a:t>online_time</a:t>
            </a:r>
            <a:r>
              <a:rPr lang="en-US" dirty="0"/>
              <a:t>) / 60,            2) AS </a:t>
            </a:r>
            <a:r>
              <a:rPr lang="en-US" dirty="0" err="1"/>
              <a:t>onl_timeFROM</a:t>
            </a:r>
            <a:r>
              <a:rPr lang="en-US" dirty="0"/>
              <a:t>    `online`)SELECT     </a:t>
            </a:r>
            <a:r>
              <a:rPr lang="en-US" dirty="0" err="1"/>
              <a:t>onl_date</a:t>
            </a:r>
            <a:r>
              <a:rPr lang="en-US" dirty="0"/>
              <a:t>, SUM(</a:t>
            </a:r>
            <a:r>
              <a:rPr lang="en-US" dirty="0" err="1"/>
              <a:t>onl_time</a:t>
            </a:r>
            <a:r>
              <a:rPr lang="en-US" dirty="0"/>
              <a:t>) AS </a:t>
            </a:r>
            <a:r>
              <a:rPr lang="en-US" dirty="0" err="1"/>
              <a:t>total_timeFROM</a:t>
            </a:r>
            <a:r>
              <a:rPr lang="en-US" dirty="0"/>
              <a:t>    </a:t>
            </a:r>
            <a:r>
              <a:rPr lang="en-US" dirty="0" err="1"/>
              <a:t>cteGROUP</a:t>
            </a:r>
            <a:r>
              <a:rPr lang="en-US" dirty="0"/>
              <a:t> BY </a:t>
            </a:r>
            <a:r>
              <a:rPr lang="en-US" dirty="0" err="1"/>
              <a:t>onl_date</a:t>
            </a:r>
            <a:r>
              <a:rPr lang="en-US" dirty="0"/>
              <a:t>;</a:t>
            </a:r>
          </a:p>
          <a:p>
            <a:r>
              <a:rPr lang="en-US" dirty="0"/>
              <a:t>with 15_day_sell as (SELECT     COUNT(*) AS </a:t>
            </a:r>
            <a:r>
              <a:rPr lang="en-US" dirty="0" err="1"/>
              <a:t>total_sells</a:t>
            </a:r>
            <a:r>
              <a:rPr lang="en-US" dirty="0"/>
              <a:t>, </a:t>
            </a:r>
            <a:r>
              <a:rPr lang="en-US" dirty="0" err="1"/>
              <a:t>category_idFROM</a:t>
            </a:r>
            <a:r>
              <a:rPr lang="en-US" dirty="0"/>
              <a:t>    </a:t>
            </a:r>
            <a:r>
              <a:rPr lang="en-US" dirty="0" err="1"/>
              <a:t>courseWHERE</a:t>
            </a:r>
            <a:r>
              <a:rPr lang="en-US" dirty="0"/>
              <a:t>    DATEDIFF(</a:t>
            </a:r>
            <a:r>
              <a:rPr lang="en-US" dirty="0" err="1"/>
              <a:t>created_at</a:t>
            </a:r>
            <a:r>
              <a:rPr lang="en-US" dirty="0"/>
              <a:t>, CURRENT_TIMESTAMP) &lt; 15GROUP BY </a:t>
            </a:r>
            <a:r>
              <a:rPr lang="en-US" dirty="0" err="1"/>
              <a:t>category_id</a:t>
            </a:r>
            <a:r>
              <a:rPr lang="en-US" dirty="0"/>
              <a:t>),15_day_buy as (SELECT     COUNT(</a:t>
            </a:r>
            <a:r>
              <a:rPr lang="en-US" dirty="0" err="1"/>
              <a:t>course_id</a:t>
            </a:r>
            <a:r>
              <a:rPr lang="en-US" dirty="0"/>
              <a:t>) AS </a:t>
            </a:r>
            <a:r>
              <a:rPr lang="en-US" dirty="0" err="1"/>
              <a:t>total_buy</a:t>
            </a:r>
            <a:r>
              <a:rPr lang="en-US" dirty="0"/>
              <a:t>, </a:t>
            </a:r>
            <a:r>
              <a:rPr lang="en-US" dirty="0" err="1"/>
              <a:t>category_id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 ON c.id = </a:t>
            </a:r>
            <a:r>
              <a:rPr lang="en-US" dirty="0" err="1"/>
              <a:t>m.course_idGROUP</a:t>
            </a:r>
            <a:r>
              <a:rPr lang="en-US" dirty="0"/>
              <a:t> BY </a:t>
            </a:r>
            <a:r>
              <a:rPr lang="en-US" dirty="0" err="1"/>
              <a:t>category_id</a:t>
            </a:r>
            <a:r>
              <a:rPr lang="en-US" dirty="0"/>
              <a:t>)SELECT     </a:t>
            </a:r>
            <a:r>
              <a:rPr lang="en-US" dirty="0" err="1"/>
              <a:t>total_sells</a:t>
            </a:r>
            <a:r>
              <a:rPr lang="en-US" dirty="0"/>
              <a:t>, </a:t>
            </a:r>
            <a:r>
              <a:rPr lang="en-US" dirty="0" err="1"/>
              <a:t>total_buy</a:t>
            </a:r>
            <a:r>
              <a:rPr lang="en-US" dirty="0"/>
              <a:t>, </a:t>
            </a:r>
            <a:r>
              <a:rPr lang="en-US" dirty="0" err="1"/>
              <a:t>category.nameFROM</a:t>
            </a:r>
            <a:r>
              <a:rPr lang="en-US" dirty="0"/>
              <a:t>    15_day_sell AS sell        JOIN    15_day_buy AS buy ON </a:t>
            </a:r>
            <a:r>
              <a:rPr lang="en-US" dirty="0" err="1"/>
              <a:t>sell.category_id</a:t>
            </a:r>
            <a:r>
              <a:rPr lang="en-US" dirty="0"/>
              <a:t> = </a:t>
            </a:r>
            <a:r>
              <a:rPr lang="en-US" dirty="0" err="1"/>
              <a:t>buy.category_id</a:t>
            </a:r>
            <a:r>
              <a:rPr lang="en-US" dirty="0"/>
              <a:t>        JOIN    category ON </a:t>
            </a:r>
            <a:r>
              <a:rPr lang="en-US" dirty="0" err="1"/>
              <a:t>sell.category_id</a:t>
            </a:r>
            <a:r>
              <a:rPr lang="en-US" dirty="0"/>
              <a:t> = category.id;</a:t>
            </a:r>
          </a:p>
          <a:p>
            <a:r>
              <a:rPr lang="en-US" dirty="0"/>
              <a:t>with rating as (SELECT avg(</a:t>
            </a:r>
            <a:r>
              <a:rPr lang="en-US" dirty="0" err="1"/>
              <a:t>rating_star</a:t>
            </a:r>
            <a:r>
              <a:rPr lang="en-US" dirty="0"/>
              <a:t>) as </a:t>
            </a:r>
            <a:r>
              <a:rPr lang="en-US" dirty="0" err="1"/>
              <a:t>average_star</a:t>
            </a:r>
            <a:r>
              <a:rPr lang="en-US" dirty="0"/>
              <a:t>, </a:t>
            </a:r>
            <a:r>
              <a:rPr lang="en-US" dirty="0" err="1"/>
              <a:t>mentor_id</a:t>
            </a:r>
            <a:r>
              <a:rPr lang="en-US" dirty="0"/>
              <a:t> FROM </a:t>
            </a:r>
            <a:r>
              <a:rPr lang="en-US" dirty="0" err="1"/>
              <a:t>lms.review</a:t>
            </a:r>
            <a:r>
              <a:rPr lang="en-US" dirty="0"/>
              <a:t> r join course c on </a:t>
            </a:r>
            <a:r>
              <a:rPr lang="en-US" dirty="0" err="1"/>
              <a:t>r.source_id</a:t>
            </a:r>
            <a:r>
              <a:rPr lang="en-US" dirty="0"/>
              <a:t> = </a:t>
            </a:r>
            <a:r>
              <a:rPr lang="en-US" dirty="0" err="1"/>
              <a:t>c.idgroup</a:t>
            </a:r>
            <a:r>
              <a:rPr lang="en-US" dirty="0"/>
              <a:t> by </a:t>
            </a:r>
            <a:r>
              <a:rPr lang="en-US" dirty="0" err="1"/>
              <a:t>mentor_id</a:t>
            </a:r>
            <a:r>
              <a:rPr lang="en-US" dirty="0"/>
              <a:t>)select </a:t>
            </a:r>
            <a:r>
              <a:rPr lang="en-US" dirty="0" err="1"/>
              <a:t>average_star</a:t>
            </a:r>
            <a:r>
              <a:rPr lang="en-US" dirty="0"/>
              <a:t>, </a:t>
            </a:r>
            <a:r>
              <a:rPr lang="en-US" dirty="0" err="1"/>
              <a:t>c.mentor_id</a:t>
            </a:r>
            <a:r>
              <a:rPr lang="en-US" dirty="0"/>
              <a:t>, count(</a:t>
            </a:r>
            <a:r>
              <a:rPr lang="en-US" dirty="0" err="1"/>
              <a:t>c.mentor_id</a:t>
            </a:r>
            <a:r>
              <a:rPr lang="en-US" dirty="0"/>
              <a:t>) as </a:t>
            </a:r>
            <a:r>
              <a:rPr lang="en-US" dirty="0" err="1"/>
              <a:t>enroll_per_mentor</a:t>
            </a:r>
            <a:r>
              <a:rPr lang="en-US" dirty="0"/>
              <a:t> from course c join </a:t>
            </a:r>
            <a:r>
              <a:rPr lang="en-US" dirty="0" err="1"/>
              <a:t>menteecourse</a:t>
            </a:r>
            <a:r>
              <a:rPr lang="en-US" dirty="0"/>
              <a:t> m on c.id = </a:t>
            </a:r>
            <a:r>
              <a:rPr lang="en-US" dirty="0" err="1"/>
              <a:t>m.course_idjoin</a:t>
            </a:r>
            <a:r>
              <a:rPr lang="en-US" dirty="0"/>
              <a:t> rating on </a:t>
            </a:r>
            <a:r>
              <a:rPr lang="en-US" dirty="0" err="1"/>
              <a:t>c.mentor_id</a:t>
            </a:r>
            <a:r>
              <a:rPr lang="en-US" dirty="0"/>
              <a:t> = </a:t>
            </a:r>
            <a:r>
              <a:rPr lang="en-US" dirty="0" err="1"/>
              <a:t>rating.mentor_idgroup</a:t>
            </a:r>
            <a:r>
              <a:rPr lang="en-US" dirty="0"/>
              <a:t> by </a:t>
            </a:r>
            <a:r>
              <a:rPr lang="en-US" dirty="0" err="1"/>
              <a:t>mentor_id</a:t>
            </a:r>
            <a:r>
              <a:rPr lang="en-US" dirty="0"/>
              <a:t>;</a:t>
            </a:r>
          </a:p>
          <a:p>
            <a:r>
              <a:rPr lang="en-US" dirty="0"/>
              <a:t>select count(</a:t>
            </a:r>
            <a:r>
              <a:rPr lang="en-US" dirty="0" err="1"/>
              <a:t>course_id</a:t>
            </a:r>
            <a:r>
              <a:rPr lang="en-US" dirty="0"/>
              <a:t>) as </a:t>
            </a:r>
            <a:r>
              <a:rPr lang="en-US" dirty="0" err="1"/>
              <a:t>enroll_num</a:t>
            </a:r>
            <a:r>
              <a:rPr lang="en-US" dirty="0"/>
              <a:t>, c.name, </a:t>
            </a:r>
            <a:r>
              <a:rPr lang="en-US" dirty="0" err="1"/>
              <a:t>c.price</a:t>
            </a:r>
            <a:r>
              <a:rPr lang="en-US" dirty="0"/>
              <a:t>, sum(</a:t>
            </a:r>
            <a:r>
              <a:rPr lang="en-US" dirty="0" err="1"/>
              <a:t>c.price</a:t>
            </a:r>
            <a:r>
              <a:rPr lang="en-US" dirty="0"/>
              <a:t>) as </a:t>
            </a:r>
            <a:r>
              <a:rPr lang="en-US" dirty="0" err="1"/>
              <a:t>total_sale</a:t>
            </a:r>
            <a:r>
              <a:rPr lang="en-US" dirty="0"/>
              <a:t> from </a:t>
            </a:r>
            <a:r>
              <a:rPr lang="en-US" dirty="0" err="1"/>
              <a:t>menteecourse</a:t>
            </a:r>
            <a:r>
              <a:rPr lang="en-US" dirty="0"/>
              <a:t> m join course c on </a:t>
            </a:r>
            <a:r>
              <a:rPr lang="en-US" dirty="0" err="1"/>
              <a:t>m.course_id</a:t>
            </a:r>
            <a:r>
              <a:rPr lang="en-US" dirty="0"/>
              <a:t> = c.id where </a:t>
            </a:r>
            <a:r>
              <a:rPr lang="en-US" dirty="0" err="1"/>
              <a:t>datediff</a:t>
            </a:r>
            <a:r>
              <a:rPr lang="en-US" dirty="0"/>
              <a:t>(</a:t>
            </a:r>
            <a:r>
              <a:rPr lang="en-US" dirty="0" err="1"/>
              <a:t>m.enroll_at</a:t>
            </a:r>
            <a:r>
              <a:rPr lang="en-US" dirty="0"/>
              <a:t>, </a:t>
            </a:r>
            <a:r>
              <a:rPr lang="en-US" dirty="0" err="1"/>
              <a:t>current_timestamp</a:t>
            </a:r>
            <a:r>
              <a:rPr lang="en-US" dirty="0"/>
              <a:t>) &lt;=7group by c.name, </a:t>
            </a:r>
            <a:r>
              <a:rPr lang="en-US" dirty="0" err="1"/>
              <a:t>c.price</a:t>
            </a:r>
            <a:r>
              <a:rPr lang="en-US" dirty="0"/>
              <a:t> limit 5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642184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729487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55307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6985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r Course: SELECT     </a:t>
            </a:r>
            <a:r>
              <a:rPr lang="en-US" dirty="0" err="1"/>
              <a:t>course_id</a:t>
            </a:r>
            <a:r>
              <a:rPr lang="en-US" dirty="0"/>
              <a:t>,    COUNT(</a:t>
            </a:r>
            <a:r>
              <a:rPr lang="en-US" dirty="0" err="1"/>
              <a:t>mentee_id</a:t>
            </a:r>
            <a:r>
              <a:rPr lang="en-US" dirty="0"/>
              <a:t>) AS </a:t>
            </a:r>
            <a:r>
              <a:rPr lang="en-US" dirty="0" err="1"/>
              <a:t>num_enrolled</a:t>
            </a:r>
            <a:r>
              <a:rPr lang="en-US" dirty="0"/>
              <a:t>,    course.name AS </a:t>
            </a:r>
            <a:r>
              <a:rPr lang="en-US" dirty="0" err="1"/>
              <a:t>course_name</a:t>
            </a:r>
            <a:r>
              <a:rPr lang="en-US" dirty="0"/>
              <a:t>,    </a:t>
            </a:r>
            <a:r>
              <a:rPr lang="en-US" dirty="0" err="1"/>
              <a:t>course.price</a:t>
            </a:r>
            <a:r>
              <a:rPr lang="en-US" dirty="0"/>
              <a:t>,    category.name AS </a:t>
            </a:r>
            <a:r>
              <a:rPr lang="en-US" dirty="0" err="1"/>
              <a:t>categoryFROM</a:t>
            </a:r>
            <a:r>
              <a:rPr lang="en-US" dirty="0"/>
              <a:t>    </a:t>
            </a:r>
            <a:r>
              <a:rPr lang="en-US" dirty="0" err="1"/>
              <a:t>menteecourse</a:t>
            </a:r>
            <a:r>
              <a:rPr lang="en-US" dirty="0"/>
              <a:t>        JOIN    course ON </a:t>
            </a:r>
            <a:r>
              <a:rPr lang="en-US" dirty="0" err="1"/>
              <a:t>menteecourse.course_id</a:t>
            </a:r>
            <a:r>
              <a:rPr lang="en-US" dirty="0"/>
              <a:t> = course.id        JOIN    category ON </a:t>
            </a:r>
            <a:r>
              <a:rPr lang="en-US" dirty="0" err="1"/>
              <a:t>course.category_id</a:t>
            </a:r>
            <a:r>
              <a:rPr lang="en-US" dirty="0"/>
              <a:t> = </a:t>
            </a:r>
            <a:r>
              <a:rPr lang="en-US" dirty="0" err="1"/>
              <a:t>category.idGROUP</a:t>
            </a:r>
            <a:r>
              <a:rPr lang="en-US" dirty="0"/>
              <a:t> BY </a:t>
            </a:r>
            <a:r>
              <a:rPr lang="en-US" dirty="0" err="1"/>
              <a:t>course_idORDER</a:t>
            </a:r>
            <a:r>
              <a:rPr lang="en-US" dirty="0"/>
              <a:t> BY </a:t>
            </a:r>
            <a:r>
              <a:rPr lang="en-US" dirty="0" err="1"/>
              <a:t>num_enrolled</a:t>
            </a:r>
            <a:r>
              <a:rPr lang="en-US" dirty="0"/>
              <a:t> DESC LIMIT 4;</a:t>
            </a:r>
          </a:p>
          <a:p>
            <a:r>
              <a:rPr lang="en-US" dirty="0"/>
              <a:t>Trending Course: SELECT     course.name AS </a:t>
            </a:r>
            <a:r>
              <a:rPr lang="en-US" dirty="0" err="1"/>
              <a:t>courseName</a:t>
            </a:r>
            <a:r>
              <a:rPr lang="en-US" dirty="0"/>
              <a:t>,    </a:t>
            </a:r>
            <a:r>
              <a:rPr lang="en-US" dirty="0" err="1"/>
              <a:t>course.price</a:t>
            </a:r>
            <a:r>
              <a:rPr lang="en-US" dirty="0"/>
              <a:t>,    </a:t>
            </a:r>
            <a:r>
              <a:rPr lang="en-US" dirty="0" err="1"/>
              <a:t>course.description</a:t>
            </a:r>
            <a:r>
              <a:rPr lang="en-US" dirty="0"/>
              <a:t>,    category.name AS category,    </a:t>
            </a:r>
            <a:r>
              <a:rPr lang="en-US" dirty="0" err="1"/>
              <a:t>course.created_at</a:t>
            </a:r>
            <a:r>
              <a:rPr lang="en-US" dirty="0"/>
              <a:t>,    </a:t>
            </a:r>
            <a:r>
              <a:rPr lang="en-US" dirty="0" err="1"/>
              <a:t>rate.avg_rate</a:t>
            </a:r>
            <a:r>
              <a:rPr lang="en-US" dirty="0"/>
              <a:t>,    </a:t>
            </a:r>
            <a:r>
              <a:rPr lang="en-US" dirty="0" err="1"/>
              <a:t>rate.total_rateFROM</a:t>
            </a:r>
            <a:r>
              <a:rPr lang="en-US" dirty="0"/>
              <a:t>    course        JOIN    category ON </a:t>
            </a:r>
            <a:r>
              <a:rPr lang="en-US" dirty="0" err="1"/>
              <a:t>course.category_id</a:t>
            </a:r>
            <a:r>
              <a:rPr lang="en-US" dirty="0"/>
              <a:t> = category.id        JOIN    (SELECT         </a:t>
            </a:r>
            <a:r>
              <a:rPr lang="en-US" dirty="0" err="1"/>
              <a:t>course_id</a:t>
            </a:r>
            <a:r>
              <a:rPr lang="en-US" dirty="0"/>
              <a:t>    FROM        </a:t>
            </a:r>
            <a:r>
              <a:rPr lang="en-US" dirty="0" err="1"/>
              <a:t>menteecourse</a:t>
            </a:r>
            <a:r>
              <a:rPr lang="en-US" dirty="0"/>
              <a:t>    GROUP BY </a:t>
            </a:r>
            <a:r>
              <a:rPr lang="en-US" dirty="0" err="1"/>
              <a:t>course_id</a:t>
            </a:r>
            <a:r>
              <a:rPr lang="en-US" dirty="0"/>
              <a:t>    ORDER BY COUNT(</a:t>
            </a:r>
            <a:r>
              <a:rPr lang="en-US" dirty="0" err="1"/>
              <a:t>course_id</a:t>
            </a:r>
            <a:r>
              <a:rPr lang="en-US" dirty="0"/>
              <a:t>) DESC    LIMIT 4) AS trending ON course.id = </a:t>
            </a:r>
            <a:r>
              <a:rPr lang="en-US" dirty="0" err="1"/>
              <a:t>trending.course_id</a:t>
            </a:r>
            <a:r>
              <a:rPr lang="en-US" dirty="0"/>
              <a:t>        JOIN    (SELECT         COUNT(</a:t>
            </a:r>
            <a:r>
              <a:rPr lang="en-US" dirty="0" err="1"/>
              <a:t>review.rating_star</a:t>
            </a:r>
            <a:r>
              <a:rPr lang="en-US" dirty="0"/>
              <a:t>) AS </a:t>
            </a:r>
            <a:r>
              <a:rPr lang="en-US" dirty="0" err="1"/>
              <a:t>total_rate</a:t>
            </a:r>
            <a:r>
              <a:rPr lang="en-US" dirty="0"/>
              <a:t>,            SUM(</a:t>
            </a:r>
            <a:r>
              <a:rPr lang="en-US" dirty="0" err="1"/>
              <a:t>review.rating_star</a:t>
            </a:r>
            <a:r>
              <a:rPr lang="en-US" dirty="0"/>
              <a:t>) / COUNT(</a:t>
            </a:r>
            <a:r>
              <a:rPr lang="en-US" dirty="0" err="1"/>
              <a:t>review.rating_star</a:t>
            </a:r>
            <a:r>
              <a:rPr lang="en-US" dirty="0"/>
              <a:t>) AS </a:t>
            </a:r>
            <a:r>
              <a:rPr lang="en-US" dirty="0" err="1"/>
              <a:t>avg_rate</a:t>
            </a:r>
            <a:r>
              <a:rPr lang="en-US" dirty="0"/>
              <a:t>,            course.id    FROM        review    JOIN course ON </a:t>
            </a:r>
            <a:r>
              <a:rPr lang="en-US" dirty="0" err="1"/>
              <a:t>review.source_id</a:t>
            </a:r>
            <a:r>
              <a:rPr lang="en-US" dirty="0"/>
              <a:t> = course.id    GROUP BY course.id) AS rate ON course.id = </a:t>
            </a:r>
            <a:r>
              <a:rPr lang="en-US" dirty="0" err="1"/>
              <a:t>rate.idORDER</a:t>
            </a:r>
            <a:r>
              <a:rPr lang="en-US" dirty="0"/>
              <a:t> BY </a:t>
            </a:r>
            <a:r>
              <a:rPr lang="en-US" dirty="0" err="1"/>
              <a:t>rate.avg_rate</a:t>
            </a:r>
            <a:r>
              <a:rPr lang="en-US" dirty="0"/>
              <a:t> DESC;</a:t>
            </a:r>
          </a:p>
          <a:p>
            <a:r>
              <a:rPr lang="en-US" dirty="0"/>
              <a:t>SELECT     COUNT(</a:t>
            </a:r>
            <a:r>
              <a:rPr lang="en-US" dirty="0" err="1"/>
              <a:t>course_id</a:t>
            </a:r>
            <a:r>
              <a:rPr lang="en-US" dirty="0"/>
              <a:t>) AS </a:t>
            </a:r>
            <a:r>
              <a:rPr lang="en-US" dirty="0" err="1"/>
              <a:t>num_enroll</a:t>
            </a:r>
            <a:r>
              <a:rPr lang="en-US" dirty="0"/>
              <a:t>, </a:t>
            </a:r>
            <a:r>
              <a:rPr lang="en-US" dirty="0" err="1"/>
              <a:t>course_id</a:t>
            </a:r>
            <a:r>
              <a:rPr lang="en-US" dirty="0"/>
              <a:t>, </a:t>
            </a:r>
            <a:r>
              <a:rPr lang="en-US" dirty="0" err="1"/>
              <a:t>category_id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 ON c.id = </a:t>
            </a:r>
            <a:r>
              <a:rPr lang="en-US" dirty="0" err="1"/>
              <a:t>m.course_idGROUP</a:t>
            </a:r>
            <a:r>
              <a:rPr lang="en-US" dirty="0"/>
              <a:t> BY </a:t>
            </a:r>
            <a:r>
              <a:rPr lang="en-US" dirty="0" err="1"/>
              <a:t>category_id</a:t>
            </a:r>
            <a:r>
              <a:rPr lang="en-US" dirty="0"/>
              <a:t> , </a:t>
            </a:r>
            <a:r>
              <a:rPr lang="en-US" dirty="0" err="1"/>
              <a:t>course_idHAVING</a:t>
            </a:r>
            <a:r>
              <a:rPr lang="en-US" dirty="0"/>
              <a:t> </a:t>
            </a:r>
            <a:r>
              <a:rPr lang="en-US" dirty="0" err="1"/>
              <a:t>category_id</a:t>
            </a:r>
            <a:r>
              <a:rPr lang="en-US" dirty="0"/>
              <a:t> IN (SELECT         </a:t>
            </a:r>
            <a:r>
              <a:rPr lang="en-US" dirty="0" err="1"/>
              <a:t>category_id</a:t>
            </a:r>
            <a:r>
              <a:rPr lang="en-US" dirty="0"/>
              <a:t>    FROM        </a:t>
            </a:r>
            <a:r>
              <a:rPr lang="en-US" dirty="0" err="1"/>
              <a:t>favouritecategory</a:t>
            </a:r>
            <a:r>
              <a:rPr lang="en-US" dirty="0"/>
              <a:t>    WHERE        </a:t>
            </a:r>
            <a:r>
              <a:rPr lang="en-US" dirty="0" err="1"/>
              <a:t>mentee_id</a:t>
            </a:r>
            <a:r>
              <a:rPr lang="en-US" dirty="0"/>
              <a:t> = 7)</a:t>
            </a:r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06366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urse Details: WITH </a:t>
            </a:r>
            <a:r>
              <a:rPr lang="en-US" dirty="0" err="1"/>
              <a:t>lesson_count</a:t>
            </a:r>
            <a:r>
              <a:rPr lang="en-US" dirty="0"/>
              <a:t> as (SELECT     s.id, </a:t>
            </a:r>
            <a:r>
              <a:rPr lang="en-US" dirty="0" err="1"/>
              <a:t>s.course_id</a:t>
            </a:r>
            <a:r>
              <a:rPr lang="en-US" dirty="0"/>
              <a:t>, s.name, COUNT(l.id) AS </a:t>
            </a:r>
            <a:r>
              <a:rPr lang="en-US" dirty="0" err="1"/>
              <a:t>lesson_per_sectionFROM</a:t>
            </a:r>
            <a:r>
              <a:rPr lang="en-US" dirty="0"/>
              <a:t>    section s        JOIN    lesson l ON s.id = </a:t>
            </a:r>
            <a:r>
              <a:rPr lang="en-US" dirty="0" err="1"/>
              <a:t>l.section_idGROUP</a:t>
            </a:r>
            <a:r>
              <a:rPr lang="en-US" dirty="0"/>
              <a:t> BY s.id , s.name),</a:t>
            </a:r>
            <a:r>
              <a:rPr lang="en-US" dirty="0" err="1"/>
              <a:t>section_count</a:t>
            </a:r>
            <a:r>
              <a:rPr lang="en-US" dirty="0"/>
              <a:t> as (SELECT     </a:t>
            </a:r>
            <a:r>
              <a:rPr lang="en-US" dirty="0" err="1"/>
              <a:t>course_id</a:t>
            </a:r>
            <a:r>
              <a:rPr lang="en-US" dirty="0"/>
              <a:t>,    SUM(</a:t>
            </a:r>
            <a:r>
              <a:rPr lang="en-US" dirty="0" err="1"/>
              <a:t>lesson_per_section</a:t>
            </a:r>
            <a:r>
              <a:rPr lang="en-US" dirty="0"/>
              <a:t>) AS </a:t>
            </a:r>
            <a:r>
              <a:rPr lang="en-US" dirty="0" err="1"/>
              <a:t>total_lesson</a:t>
            </a:r>
            <a:r>
              <a:rPr lang="en-US" dirty="0"/>
              <a:t>,    COUNT(</a:t>
            </a:r>
            <a:r>
              <a:rPr lang="en-US" dirty="0" err="1"/>
              <a:t>lesson_per_section</a:t>
            </a:r>
            <a:r>
              <a:rPr lang="en-US" dirty="0"/>
              <a:t>) AS </a:t>
            </a:r>
            <a:r>
              <a:rPr lang="en-US" dirty="0" err="1"/>
              <a:t>total_sectionFROM</a:t>
            </a:r>
            <a:r>
              <a:rPr lang="en-US" dirty="0"/>
              <a:t>    </a:t>
            </a:r>
            <a:r>
              <a:rPr lang="en-US" dirty="0" err="1"/>
              <a:t>lesson_countGROUP</a:t>
            </a:r>
            <a:r>
              <a:rPr lang="en-US" dirty="0"/>
              <a:t> BY </a:t>
            </a:r>
            <a:r>
              <a:rPr lang="en-US" dirty="0" err="1"/>
              <a:t>course_id</a:t>
            </a:r>
            <a:r>
              <a:rPr lang="en-US" dirty="0"/>
              <a:t>),</a:t>
            </a:r>
            <a:r>
              <a:rPr lang="en-US" dirty="0" err="1"/>
              <a:t>review_count</a:t>
            </a:r>
            <a:r>
              <a:rPr lang="en-US" dirty="0"/>
              <a:t> as (SELECT     </a:t>
            </a:r>
            <a:r>
              <a:rPr lang="en-US" dirty="0" err="1"/>
              <a:t>source_id</a:t>
            </a:r>
            <a:r>
              <a:rPr lang="en-US" dirty="0"/>
              <a:t>,    COUNT(</a:t>
            </a:r>
            <a:r>
              <a:rPr lang="en-US" dirty="0" err="1"/>
              <a:t>source_id</a:t>
            </a:r>
            <a:r>
              <a:rPr lang="en-US" dirty="0"/>
              <a:t>) AS </a:t>
            </a:r>
            <a:r>
              <a:rPr lang="en-US" dirty="0" err="1"/>
              <a:t>total_review</a:t>
            </a:r>
            <a:r>
              <a:rPr lang="en-US" dirty="0"/>
              <a:t>,    AVG(</a:t>
            </a:r>
            <a:r>
              <a:rPr lang="en-US" dirty="0" err="1"/>
              <a:t>rating_star</a:t>
            </a:r>
            <a:r>
              <a:rPr lang="en-US" dirty="0"/>
              <a:t>) AS </a:t>
            </a:r>
            <a:r>
              <a:rPr lang="en-US" dirty="0" err="1"/>
              <a:t>avg_starFROM</a:t>
            </a:r>
            <a:r>
              <a:rPr lang="en-US" dirty="0"/>
              <a:t>    </a:t>
            </a:r>
            <a:r>
              <a:rPr lang="en-US" dirty="0" err="1"/>
              <a:t>lms.reviewGROUP</a:t>
            </a:r>
            <a:r>
              <a:rPr lang="en-US" dirty="0"/>
              <a:t> BY </a:t>
            </a:r>
            <a:r>
              <a:rPr lang="en-US" dirty="0" err="1"/>
              <a:t>source_id</a:t>
            </a:r>
            <a:r>
              <a:rPr lang="en-US" dirty="0"/>
              <a:t>)SELECT     c.name,    </a:t>
            </a:r>
            <a:r>
              <a:rPr lang="en-US" dirty="0" err="1"/>
              <a:t>c.price</a:t>
            </a:r>
            <a:r>
              <a:rPr lang="en-US" dirty="0"/>
              <a:t>,    u.name,    </a:t>
            </a:r>
            <a:r>
              <a:rPr lang="en-US" dirty="0" err="1"/>
              <a:t>u.asset_id</a:t>
            </a:r>
            <a:r>
              <a:rPr lang="en-US" dirty="0"/>
              <a:t>,    </a:t>
            </a:r>
            <a:r>
              <a:rPr lang="en-US" dirty="0" err="1"/>
              <a:t>c.description</a:t>
            </a:r>
            <a:r>
              <a:rPr lang="en-US" dirty="0"/>
              <a:t>,    </a:t>
            </a:r>
            <a:r>
              <a:rPr lang="en-US" dirty="0" err="1"/>
              <a:t>s.total_lesson</a:t>
            </a:r>
            <a:r>
              <a:rPr lang="en-US" dirty="0"/>
              <a:t>,    </a:t>
            </a:r>
            <a:r>
              <a:rPr lang="en-US" dirty="0" err="1"/>
              <a:t>s.total_section</a:t>
            </a:r>
            <a:r>
              <a:rPr lang="en-US" dirty="0"/>
              <a:t>,    </a:t>
            </a:r>
            <a:r>
              <a:rPr lang="en-US" dirty="0" err="1"/>
              <a:t>r.total_review</a:t>
            </a:r>
            <a:r>
              <a:rPr lang="en-US" dirty="0"/>
              <a:t>,    round(</a:t>
            </a:r>
            <a:r>
              <a:rPr lang="en-US" dirty="0" err="1"/>
              <a:t>r.avg_star</a:t>
            </a:r>
            <a:r>
              <a:rPr lang="en-US" dirty="0"/>
              <a:t>, 1) as </a:t>
            </a:r>
            <a:r>
              <a:rPr lang="en-US" dirty="0" err="1"/>
              <a:t>avg_starFROM</a:t>
            </a:r>
            <a:r>
              <a:rPr lang="en-US" dirty="0"/>
              <a:t>    </a:t>
            </a:r>
            <a:r>
              <a:rPr lang="en-US" dirty="0" err="1"/>
              <a:t>lms.course</a:t>
            </a:r>
            <a:r>
              <a:rPr lang="en-US" dirty="0"/>
              <a:t> c        JOIN    user u ON </a:t>
            </a:r>
            <a:r>
              <a:rPr lang="en-US" dirty="0" err="1"/>
              <a:t>c.mentor_id</a:t>
            </a:r>
            <a:r>
              <a:rPr lang="en-US" dirty="0"/>
              <a:t> = u.id        JOIN    </a:t>
            </a:r>
            <a:r>
              <a:rPr lang="en-US" dirty="0" err="1"/>
              <a:t>section_count</a:t>
            </a:r>
            <a:r>
              <a:rPr lang="en-US" dirty="0"/>
              <a:t> s ON c.id = </a:t>
            </a:r>
            <a:r>
              <a:rPr lang="en-US" dirty="0" err="1"/>
              <a:t>s.course_id</a:t>
            </a:r>
            <a:r>
              <a:rPr lang="en-US" dirty="0"/>
              <a:t>        JOIN     </a:t>
            </a:r>
            <a:r>
              <a:rPr lang="en-US" dirty="0" err="1"/>
              <a:t>review_count</a:t>
            </a:r>
            <a:r>
              <a:rPr lang="en-US" dirty="0"/>
              <a:t> r on c.id = </a:t>
            </a:r>
            <a:r>
              <a:rPr lang="en-US" dirty="0" err="1"/>
              <a:t>r.source_id</a:t>
            </a:r>
            <a:r>
              <a:rPr lang="en-US" dirty="0"/>
              <a:t>    WHERE c.id = 'C1'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4900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    l.id,    title,    transcript,    summary,    </a:t>
            </a:r>
            <a:r>
              <a:rPr lang="en-US" dirty="0" err="1"/>
              <a:t>l.asset_id</a:t>
            </a:r>
            <a:r>
              <a:rPr lang="en-US" dirty="0"/>
              <a:t>,    u.name,    </a:t>
            </a:r>
            <a:r>
              <a:rPr lang="en-US" dirty="0" err="1"/>
              <a:t>d.contentFROM</a:t>
            </a:r>
            <a:r>
              <a:rPr lang="en-US" dirty="0"/>
              <a:t>    </a:t>
            </a:r>
            <a:r>
              <a:rPr lang="en-US" dirty="0" err="1"/>
              <a:t>lms.lesson</a:t>
            </a:r>
            <a:r>
              <a:rPr lang="en-US" dirty="0"/>
              <a:t> l        JOIN    discussion d ON l.id = </a:t>
            </a:r>
            <a:r>
              <a:rPr lang="en-US" dirty="0" err="1"/>
              <a:t>d.lesson_id</a:t>
            </a:r>
            <a:r>
              <a:rPr lang="en-US" dirty="0"/>
              <a:t>        JOIN    user u ON u.id = </a:t>
            </a:r>
            <a:r>
              <a:rPr lang="en-US" dirty="0" err="1"/>
              <a:t>d.user_idWHERE</a:t>
            </a:r>
            <a:r>
              <a:rPr lang="en-US" dirty="0"/>
              <a:t>    l.id = 2;</a:t>
            </a:r>
          </a:p>
          <a:p>
            <a:r>
              <a:rPr lang="en-US" dirty="0"/>
              <a:t>SELECT     name AS </a:t>
            </a:r>
            <a:r>
              <a:rPr lang="en-US" dirty="0" err="1"/>
              <a:t>section_name</a:t>
            </a:r>
            <a:r>
              <a:rPr lang="en-US" dirty="0"/>
              <a:t>, l.id, </a:t>
            </a:r>
            <a:r>
              <a:rPr lang="en-US" dirty="0" err="1"/>
              <a:t>titleFROM</a:t>
            </a:r>
            <a:r>
              <a:rPr lang="en-US" dirty="0"/>
              <a:t>    </a:t>
            </a:r>
            <a:r>
              <a:rPr lang="en-US" dirty="0" err="1"/>
              <a:t>lms.section</a:t>
            </a:r>
            <a:r>
              <a:rPr lang="en-US" dirty="0"/>
              <a:t> s        JOIN    lesson l ON s.id = </a:t>
            </a:r>
            <a:r>
              <a:rPr lang="en-US" dirty="0" err="1"/>
              <a:t>l.section_idWHERE</a:t>
            </a:r>
            <a:r>
              <a:rPr lang="en-US" dirty="0"/>
              <a:t>    s.id = 1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27768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title, description , u.name, </a:t>
            </a:r>
            <a:r>
              <a:rPr lang="en-US" dirty="0" err="1"/>
              <a:t>l.created_at</a:t>
            </a:r>
            <a:r>
              <a:rPr lang="en-US" dirty="0"/>
              <a:t>  FROM </a:t>
            </a:r>
            <a:r>
              <a:rPr lang="en-US" dirty="0" err="1"/>
              <a:t>lms.learningpath</a:t>
            </a:r>
            <a:r>
              <a:rPr lang="en-US" dirty="0"/>
              <a:t> l join user u on </a:t>
            </a:r>
            <a:r>
              <a:rPr lang="en-US" dirty="0" err="1"/>
              <a:t>l.mentor_id</a:t>
            </a:r>
            <a:r>
              <a:rPr lang="en-US" dirty="0"/>
              <a:t> = u.id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93798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count(*) as </a:t>
            </a:r>
            <a:r>
              <a:rPr lang="en-US" dirty="0" err="1"/>
              <a:t>total_course</a:t>
            </a:r>
            <a:r>
              <a:rPr lang="en-US" dirty="0"/>
              <a:t> FROM </a:t>
            </a:r>
            <a:r>
              <a:rPr lang="en-US" dirty="0" err="1"/>
              <a:t>lms.menteecourse</a:t>
            </a:r>
            <a:r>
              <a:rPr lang="en-US" dirty="0"/>
              <a:t> where </a:t>
            </a:r>
            <a:r>
              <a:rPr lang="en-US" dirty="0" err="1"/>
              <a:t>mentee_id</a:t>
            </a:r>
            <a:r>
              <a:rPr lang="en-US" dirty="0"/>
              <a:t> = 11;</a:t>
            </a:r>
          </a:p>
          <a:p>
            <a:r>
              <a:rPr lang="en-US" dirty="0"/>
              <a:t>SELECT count(*) as </a:t>
            </a:r>
            <a:r>
              <a:rPr lang="en-US" dirty="0" err="1"/>
              <a:t>complete_course</a:t>
            </a:r>
            <a:r>
              <a:rPr lang="en-US" dirty="0"/>
              <a:t> FROM </a:t>
            </a:r>
            <a:r>
              <a:rPr lang="en-US" dirty="0" err="1"/>
              <a:t>menteecourse</a:t>
            </a:r>
            <a:r>
              <a:rPr lang="en-US" dirty="0"/>
              <a:t> where  </a:t>
            </a:r>
            <a:r>
              <a:rPr lang="en-US" dirty="0" err="1"/>
              <a:t>mentee_id</a:t>
            </a:r>
            <a:r>
              <a:rPr lang="en-US" dirty="0"/>
              <a:t> = 11 and </a:t>
            </a:r>
            <a:r>
              <a:rPr lang="en-US" dirty="0" err="1"/>
              <a:t>cert_id</a:t>
            </a:r>
            <a:r>
              <a:rPr lang="en-US" dirty="0"/>
              <a:t> is not null;</a:t>
            </a:r>
          </a:p>
          <a:p>
            <a:r>
              <a:rPr lang="en-US" dirty="0"/>
              <a:t>SELECT count(*) as </a:t>
            </a:r>
            <a:r>
              <a:rPr lang="en-US" dirty="0" err="1"/>
              <a:t>total_quiz</a:t>
            </a:r>
            <a:r>
              <a:rPr lang="en-US" dirty="0"/>
              <a:t> FROM </a:t>
            </a:r>
            <a:r>
              <a:rPr lang="en-US" dirty="0" err="1"/>
              <a:t>quizresult</a:t>
            </a:r>
            <a:r>
              <a:rPr lang="en-US" dirty="0"/>
              <a:t> where  </a:t>
            </a:r>
            <a:r>
              <a:rPr lang="en-US" dirty="0" err="1"/>
              <a:t>mentee_id</a:t>
            </a:r>
            <a:r>
              <a:rPr lang="en-US" dirty="0"/>
              <a:t> = 11;</a:t>
            </a:r>
          </a:p>
          <a:p>
            <a:r>
              <a:rPr lang="en-US" dirty="0"/>
              <a:t>SELECT count(*) as </a:t>
            </a:r>
            <a:r>
              <a:rPr lang="en-US" dirty="0" err="1"/>
              <a:t>pass_quiz</a:t>
            </a:r>
            <a:r>
              <a:rPr lang="en-US" dirty="0"/>
              <a:t> FROM </a:t>
            </a:r>
            <a:r>
              <a:rPr lang="en-US" dirty="0" err="1"/>
              <a:t>quizresult</a:t>
            </a:r>
            <a:r>
              <a:rPr lang="en-US" dirty="0"/>
              <a:t> where  </a:t>
            </a:r>
            <a:r>
              <a:rPr lang="en-US" dirty="0" err="1"/>
              <a:t>mentee_id</a:t>
            </a:r>
            <a:r>
              <a:rPr lang="en-US" dirty="0"/>
              <a:t> = 11 and result = 1;</a:t>
            </a:r>
          </a:p>
          <a:p>
            <a:r>
              <a:rPr lang="en-US" dirty="0"/>
              <a:t>SELECT     </a:t>
            </a:r>
            <a:r>
              <a:rPr lang="en-US" dirty="0" err="1"/>
              <a:t>course_id</a:t>
            </a:r>
            <a:r>
              <a:rPr lang="en-US" dirty="0"/>
              <a:t>,     progress,     name,     CASE         WHEN progress = 0 THEN 'Pending'        WHEN progress &lt; 100 THEN 'Processing'         ELSE 'Completed'     END AS tag FROM </a:t>
            </a:r>
            <a:r>
              <a:rPr lang="en-US" dirty="0" err="1"/>
              <a:t>menteecourse</a:t>
            </a:r>
            <a:r>
              <a:rPr lang="en-US" dirty="0"/>
              <a:t> me JOIN course c ON </a:t>
            </a:r>
            <a:r>
              <a:rPr lang="en-US" dirty="0" err="1"/>
              <a:t>me.course_id</a:t>
            </a:r>
            <a:r>
              <a:rPr lang="en-US" dirty="0"/>
              <a:t> = c.id WHERE </a:t>
            </a:r>
            <a:r>
              <a:rPr lang="en-US" dirty="0" err="1"/>
              <a:t>mentee_id</a:t>
            </a:r>
            <a:r>
              <a:rPr lang="en-US" dirty="0"/>
              <a:t> = 11;</a:t>
            </a:r>
          </a:p>
          <a:p>
            <a:r>
              <a:rPr lang="en-US" dirty="0"/>
              <a:t>SELECT    status,    ROUND((COUNT(*) * 100.0 / </a:t>
            </a:r>
            <a:r>
              <a:rPr lang="en-US" dirty="0" err="1"/>
              <a:t>total_courses</a:t>
            </a:r>
            <a:r>
              <a:rPr lang="en-US" dirty="0"/>
              <a:t>), 2) AS </a:t>
            </a:r>
            <a:r>
              <a:rPr lang="en-US" dirty="0" err="1"/>
              <a:t>percentageFROM</a:t>
            </a:r>
            <a:r>
              <a:rPr lang="en-US" dirty="0"/>
              <a:t> (    SELECT        CASE             WHEN progress = 0 THEN 'Pending'            WHEN progress &lt; 100 THEN 'Processing'             ELSE 'Completed'         END AS status,        COUNT(*) OVER() AS </a:t>
            </a:r>
            <a:r>
              <a:rPr lang="en-US" dirty="0" err="1"/>
              <a:t>total_courses</a:t>
            </a:r>
            <a:r>
              <a:rPr lang="en-US" dirty="0"/>
              <a:t>    FROM </a:t>
            </a:r>
            <a:r>
              <a:rPr lang="en-US" dirty="0" err="1"/>
              <a:t>menteecourse</a:t>
            </a:r>
            <a:r>
              <a:rPr lang="en-US" dirty="0"/>
              <a:t> me    JOIN course c ON </a:t>
            </a:r>
            <a:r>
              <a:rPr lang="en-US" dirty="0" err="1"/>
              <a:t>me.course_id</a:t>
            </a:r>
            <a:r>
              <a:rPr lang="en-US" dirty="0"/>
              <a:t> = c.id    WHERE </a:t>
            </a:r>
            <a:r>
              <a:rPr lang="en-US" dirty="0" err="1"/>
              <a:t>mentee_id</a:t>
            </a:r>
            <a:r>
              <a:rPr lang="en-US" dirty="0"/>
              <a:t> = 11) </a:t>
            </a:r>
            <a:r>
              <a:rPr lang="en-US" dirty="0" err="1"/>
              <a:t>subqueryGROUP</a:t>
            </a:r>
            <a:r>
              <a:rPr lang="en-US" dirty="0"/>
              <a:t> BY status, </a:t>
            </a:r>
            <a:r>
              <a:rPr lang="en-US" dirty="0" err="1"/>
              <a:t>total_courses</a:t>
            </a:r>
            <a:r>
              <a:rPr lang="en-US" dirty="0"/>
              <a:t>;</a:t>
            </a:r>
          </a:p>
          <a:p>
            <a:r>
              <a:rPr lang="en-US" dirty="0"/>
              <a:t>SELECT sum(</a:t>
            </a:r>
            <a:r>
              <a:rPr lang="en-US" dirty="0" err="1"/>
              <a:t>online_time</a:t>
            </a:r>
            <a:r>
              <a:rPr lang="en-US" dirty="0"/>
              <a:t>), month(</a:t>
            </a:r>
            <a:r>
              <a:rPr lang="en-US" dirty="0" err="1"/>
              <a:t>online_date</a:t>
            </a:r>
            <a:r>
              <a:rPr lang="en-US" dirty="0"/>
              <a:t>) as monthly FROM </a:t>
            </a:r>
            <a:r>
              <a:rPr lang="en-US" dirty="0" err="1"/>
              <a:t>lms.online</a:t>
            </a:r>
            <a:r>
              <a:rPr lang="en-US" dirty="0"/>
              <a:t> where </a:t>
            </a:r>
            <a:r>
              <a:rPr lang="en-US" dirty="0" err="1"/>
              <a:t>user_id</a:t>
            </a:r>
            <a:r>
              <a:rPr lang="en-US" dirty="0"/>
              <a:t> = 7 group by month(</a:t>
            </a:r>
            <a:r>
              <a:rPr lang="en-US" dirty="0" err="1"/>
              <a:t>online_date</a:t>
            </a:r>
            <a:r>
              <a:rPr lang="en-US" dirty="0"/>
              <a:t>);</a:t>
            </a:r>
          </a:p>
          <a:p>
            <a:r>
              <a:rPr lang="en-US" dirty="0"/>
              <a:t>SELECT s.name as </a:t>
            </a:r>
            <a:r>
              <a:rPr lang="en-US" dirty="0" err="1"/>
              <a:t>section_name</a:t>
            </a:r>
            <a:r>
              <a:rPr lang="en-US" dirty="0"/>
              <a:t>, q.name as </a:t>
            </a:r>
            <a:r>
              <a:rPr lang="en-US" dirty="0" err="1"/>
              <a:t>quiz_name</a:t>
            </a:r>
            <a:r>
              <a:rPr lang="en-US" dirty="0"/>
              <a:t> FROM </a:t>
            </a:r>
            <a:r>
              <a:rPr lang="en-US" dirty="0" err="1"/>
              <a:t>lms.menteecourse</a:t>
            </a:r>
            <a:r>
              <a:rPr lang="en-US" dirty="0"/>
              <a:t> mc join section s on </a:t>
            </a:r>
            <a:r>
              <a:rPr lang="en-US" dirty="0" err="1"/>
              <a:t>mc.course_id</a:t>
            </a:r>
            <a:r>
              <a:rPr lang="en-US" dirty="0"/>
              <a:t> = </a:t>
            </a:r>
            <a:r>
              <a:rPr lang="en-US" dirty="0" err="1"/>
              <a:t>s.course_id</a:t>
            </a:r>
            <a:r>
              <a:rPr lang="en-US" dirty="0"/>
              <a:t> join quiz q on s.id = </a:t>
            </a:r>
            <a:r>
              <a:rPr lang="en-US" dirty="0" err="1"/>
              <a:t>q.section_id</a:t>
            </a:r>
            <a:r>
              <a:rPr lang="en-US" dirty="0"/>
              <a:t> where </a:t>
            </a:r>
            <a:r>
              <a:rPr lang="en-US" dirty="0" err="1"/>
              <a:t>mentee_id</a:t>
            </a:r>
            <a:r>
              <a:rPr lang="en-US" dirty="0"/>
              <a:t> = 11 and q.id not in (SELECT </a:t>
            </a:r>
            <a:r>
              <a:rPr lang="en-US" dirty="0" err="1"/>
              <a:t>quiz_id</a:t>
            </a:r>
            <a:r>
              <a:rPr lang="en-US" dirty="0"/>
              <a:t> FROM </a:t>
            </a:r>
            <a:r>
              <a:rPr lang="en-US" dirty="0" err="1"/>
              <a:t>quizresult</a:t>
            </a:r>
            <a:r>
              <a:rPr lang="en-US" dirty="0"/>
              <a:t> where </a:t>
            </a:r>
            <a:r>
              <a:rPr lang="en-US" dirty="0" err="1"/>
              <a:t>mentee_id</a:t>
            </a:r>
            <a:r>
              <a:rPr lang="en-US" dirty="0"/>
              <a:t> = 11 and result is true)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97753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    SUM(price) AS </a:t>
            </a:r>
            <a:r>
              <a:rPr lang="en-US" dirty="0" err="1"/>
              <a:t>revenue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</a:t>
            </a:r>
            <a:r>
              <a:rPr lang="en-US" dirty="0"/>
              <a:t> AND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OUNT(id) </a:t>
            </a:r>
            <a:r>
              <a:rPr lang="en-US" dirty="0" err="1"/>
              <a:t>total_courseFROM</a:t>
            </a:r>
            <a:r>
              <a:rPr lang="en-US" dirty="0"/>
              <a:t>    </a:t>
            </a:r>
            <a:r>
              <a:rPr lang="en-US" dirty="0" err="1"/>
              <a:t>courseWHERE</a:t>
            </a:r>
            <a:r>
              <a:rPr lang="en-US" dirty="0"/>
              <a:t>   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ount(distinct </a:t>
            </a:r>
            <a:r>
              <a:rPr lang="en-US" dirty="0" err="1"/>
              <a:t>mentee_id</a:t>
            </a:r>
            <a:r>
              <a:rPr lang="en-US" dirty="0"/>
              <a:t>) AS </a:t>
            </a:r>
            <a:r>
              <a:rPr lang="en-US" dirty="0" err="1"/>
              <a:t>total_student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</a:t>
            </a:r>
            <a:r>
              <a:rPr lang="en-US" dirty="0"/>
              <a:t> AND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OUNT(u.id)FROM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</a:t>
            </a:r>
            <a:r>
              <a:rPr lang="en-US" dirty="0"/>
              <a:t>        JOIN    user u ON </a:t>
            </a:r>
            <a:r>
              <a:rPr lang="en-US" dirty="0" err="1"/>
              <a:t>mc.mentee_id</a:t>
            </a:r>
            <a:r>
              <a:rPr lang="en-US" dirty="0"/>
              <a:t> = </a:t>
            </a:r>
            <a:r>
              <a:rPr lang="en-US" dirty="0" err="1"/>
              <a:t>u.idWHERE</a:t>
            </a:r>
            <a:r>
              <a:rPr lang="en-US" dirty="0"/>
              <a:t>    </a:t>
            </a:r>
            <a:r>
              <a:rPr lang="en-US" dirty="0" err="1"/>
              <a:t>u.is_active</a:t>
            </a:r>
            <a:r>
              <a:rPr lang="en-US" dirty="0"/>
              <a:t> IS TRUE;</a:t>
            </a:r>
          </a:p>
          <a:p>
            <a:r>
              <a:rPr lang="en-US" dirty="0"/>
              <a:t>SELECT     COUNT(*) AS </a:t>
            </a:r>
            <a:r>
              <a:rPr lang="en-US" dirty="0" err="1"/>
              <a:t>new_enrollment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DATEDIFF(CURRENT_TIMESTAMP, </a:t>
            </a:r>
            <a:r>
              <a:rPr lang="en-US" dirty="0" err="1"/>
              <a:t>enroll_at</a:t>
            </a:r>
            <a:r>
              <a:rPr lang="en-US" dirty="0"/>
              <a:t>) &lt; 7        AND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.name, SUM(price) AS revenue, COUNT(*) AS </a:t>
            </a:r>
            <a:r>
              <a:rPr lang="en-US" dirty="0" err="1"/>
              <a:t>quantity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</a:t>
            </a:r>
            <a:r>
              <a:rPr lang="en-US" dirty="0" err="1"/>
              <a:t>mentor_id</a:t>
            </a:r>
            <a:r>
              <a:rPr lang="en-US" dirty="0"/>
              <a:t> = 2GROUP BY </a:t>
            </a:r>
            <a:r>
              <a:rPr lang="en-US" dirty="0" err="1"/>
              <a:t>c.nameORDER</a:t>
            </a:r>
            <a:r>
              <a:rPr lang="en-US" dirty="0"/>
              <a:t> BY revenue;</a:t>
            </a:r>
          </a:p>
          <a:p>
            <a:r>
              <a:rPr lang="en-US" dirty="0"/>
              <a:t>SELECT     </a:t>
            </a:r>
            <a:r>
              <a:rPr lang="en-US" dirty="0" err="1"/>
              <a:t>rating_star</a:t>
            </a:r>
            <a:r>
              <a:rPr lang="en-US" dirty="0"/>
              <a:t>, </a:t>
            </a:r>
            <a:r>
              <a:rPr lang="en-US" dirty="0" err="1"/>
              <a:t>u.nameFROM</a:t>
            </a:r>
            <a:r>
              <a:rPr lang="en-US" dirty="0"/>
              <a:t>    review r        JOIN    course c ON </a:t>
            </a:r>
            <a:r>
              <a:rPr lang="en-US" dirty="0" err="1"/>
              <a:t>source_id</a:t>
            </a:r>
            <a:r>
              <a:rPr lang="en-US" dirty="0"/>
              <a:t> = c.id AND </a:t>
            </a:r>
            <a:r>
              <a:rPr lang="en-US" dirty="0" err="1"/>
              <a:t>c.mentor_id</a:t>
            </a:r>
            <a:r>
              <a:rPr lang="en-US" dirty="0"/>
              <a:t> = 2        JOIN    user u ON </a:t>
            </a:r>
            <a:r>
              <a:rPr lang="en-US" dirty="0" err="1"/>
              <a:t>r.mentee_id</a:t>
            </a:r>
            <a:r>
              <a:rPr lang="en-US" dirty="0"/>
              <a:t> = </a:t>
            </a:r>
            <a:r>
              <a:rPr lang="en-US" dirty="0" err="1"/>
              <a:t>u.idORDER</a:t>
            </a:r>
            <a:r>
              <a:rPr lang="en-US" dirty="0"/>
              <a:t> BY </a:t>
            </a:r>
            <a:r>
              <a:rPr lang="en-US" dirty="0" err="1"/>
              <a:t>r.review_at</a:t>
            </a:r>
            <a:r>
              <a:rPr lang="en-US" dirty="0"/>
              <a:t> DESCLIMIT 5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90058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name from tag;</a:t>
            </a:r>
          </a:p>
          <a:p>
            <a:r>
              <a:rPr lang="en-US" dirty="0"/>
              <a:t>SELECT name FROM category;</a:t>
            </a:r>
          </a:p>
          <a:p>
            <a:r>
              <a:rPr lang="en-US" dirty="0"/>
              <a:t>SELECT     </a:t>
            </a:r>
            <a:r>
              <a:rPr lang="en-US" dirty="0" err="1"/>
              <a:t>course_id</a:t>
            </a:r>
            <a:r>
              <a:rPr lang="en-US" dirty="0"/>
              <a:t>, </a:t>
            </a:r>
            <a:r>
              <a:rPr lang="en-US" dirty="0" err="1"/>
              <a:t>asset_idFROM</a:t>
            </a:r>
            <a:r>
              <a:rPr lang="en-US" dirty="0"/>
              <a:t>    </a:t>
            </a:r>
            <a:r>
              <a:rPr lang="en-US" dirty="0" err="1"/>
              <a:t>imagebann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5571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78A19-538B-0615-BD21-B3941BFC8B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E611F8-D5F2-4108-1297-FDA43E4CB1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4E407B-A51C-3FF5-ED18-DEE16730A7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EF488-6B21-4DF9-89F5-9EBAF21D9CB8}" type="datetimeFigureOut">
              <a:rPr lang="en-US" smtClean="0"/>
              <a:t>7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EE46F-EB4C-8F35-E6BD-B3167DAAD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13255B-BB8F-BE2A-3DEF-2995AF98E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24C1E-5CE2-4390-AEDA-B9E289C7C2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1764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E32CE-0AD5-8B0E-C2F6-E20EBBCB1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A03529-0F1C-5C5E-0070-40825FA19E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D51BF9-5965-1B7E-B852-E949B18E4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EF488-6B21-4DF9-89F5-9EBAF21D9CB8}" type="datetimeFigureOut">
              <a:rPr lang="en-US" smtClean="0"/>
              <a:t>7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12EE7E-A840-5D6F-30C7-1DB80BC03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88739A-E717-6F40-B55B-282AB0DE9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24C1E-5CE2-4390-AEDA-B9E289C7C2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880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6" imgH="306" progId="TCLayout.ActiveDocument.1">
                  <p:embed/>
                </p:oleObj>
              </mc:Choice>
              <mc:Fallback>
                <p:oleObj name="think-cell Slide" r:id="rId30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  <p:sldLayoutId id="2147483710" r:id="rId26"/>
    <p:sldLayoutId id="2147483711" r:id="rId27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5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6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9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0.xml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1.xml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2.xml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3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4DA68-C035-9EB1-8C02-F0E5AADDF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Course Details</a:t>
            </a:r>
            <a:br>
              <a:rPr lang="en-US" dirty="0"/>
            </a:b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59D27C9-621F-643C-C71E-E1B1113617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428849" y="1370012"/>
            <a:ext cx="6763151" cy="4117975"/>
          </a:xfr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466B558-9D44-952E-63D4-DC516C9FFB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44152"/>
            <a:ext cx="5356735" cy="3679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012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0A6447-821D-1475-22DB-4F5FE4A397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y and discuss</a:t>
            </a:r>
            <a:br>
              <a:rPr lang="en-US" dirty="0"/>
            </a:b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29B5134-4472-1922-91FB-873ECC785B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136437" y="1013568"/>
            <a:ext cx="6989660" cy="5266545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50DE4D-106D-E430-1493-C3EA5B4FC2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243242"/>
            <a:ext cx="4627863" cy="489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585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A3C098-62FC-091C-7F65-AF771750C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Learning path</a:t>
            </a:r>
            <a:br>
              <a:rPr lang="en-US" dirty="0"/>
            </a:b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F9E8C44-21BA-991E-E227-9E6B477ACD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1290" y="1393996"/>
            <a:ext cx="6601958" cy="4456322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EC115C2-D2CD-7242-A2FC-66F910CDA3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926063"/>
            <a:ext cx="5567867" cy="3392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4915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4B6F40-0D57-7C67-358C-AB2F96B4F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Dashboard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417AEA2-C412-8E96-7095-49E7153901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2574" y="855542"/>
            <a:ext cx="5797146" cy="5881688"/>
          </a:xfrm>
        </p:spPr>
      </p:pic>
    </p:spTree>
    <p:extLst>
      <p:ext uri="{BB962C8B-B14F-4D97-AF65-F5344CB8AC3E}">
        <p14:creationId xmlns:p14="http://schemas.microsoft.com/office/powerpoint/2010/main" val="1789258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9EF8C-3BA5-F681-89B2-08880F3B88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- dashboard</a:t>
            </a:r>
            <a:br>
              <a:rPr lang="en-US" dirty="0"/>
            </a:b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9466569-D139-7C3D-B95B-4C12CC8192F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672" y="568875"/>
            <a:ext cx="7018233" cy="6257925"/>
          </a:xfrm>
        </p:spPr>
      </p:pic>
    </p:spTree>
    <p:extLst>
      <p:ext uri="{BB962C8B-B14F-4D97-AF65-F5344CB8AC3E}">
        <p14:creationId xmlns:p14="http://schemas.microsoft.com/office/powerpoint/2010/main" val="16322858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E76C33-E886-A2E4-6DFF-343B9E250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create course</a:t>
            </a:r>
            <a:br>
              <a:rPr lang="en-US" dirty="0"/>
            </a:br>
            <a:endParaRPr lang="en-US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5547F5D1-B399-837B-9657-44631DEBAFC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758" y="1364044"/>
            <a:ext cx="6325242" cy="4304680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128BD27-58D7-9E52-026F-41FD940E4A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95097"/>
            <a:ext cx="5134692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5114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05B8A-A77C-EEF0-E79C-50AED37AF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create course</a:t>
            </a:r>
            <a:br>
              <a:rPr lang="en-US" dirty="0"/>
            </a:b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7A19735-CCFF-CD44-DA1E-643180D9244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2942" y="1768524"/>
            <a:ext cx="6093677" cy="3639279"/>
          </a:xfr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E368D0-5D95-7406-9679-CDD9477017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98000"/>
            <a:ext cx="5134692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205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7CC0B-3B62-8292-C225-6D37F9EAE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– create section quiz</a:t>
            </a:r>
            <a:br>
              <a:rPr lang="en-US" dirty="0"/>
            </a:br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C2F8819-7953-113F-2120-63C58382766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199519" y="976312"/>
            <a:ext cx="5195025" cy="4905375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EF08EB8-370B-033F-F5B7-A0CEFF0755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76312"/>
            <a:ext cx="5534797" cy="5048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6394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14F4EE-7EA5-4A72-33C9-21D801066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– create section quiz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7F7748D7-3C83-AACC-FE3E-29A9CF38AF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653122" y="877441"/>
            <a:ext cx="4385742" cy="598055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B8DB7E4-67E5-9908-089F-84823A9C5E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10" y="1098000"/>
            <a:ext cx="5534797" cy="5048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4314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65812-B5FA-5A8F-3961-0AD86F962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 - dashboard</a:t>
            </a:r>
            <a:br>
              <a:rPr lang="en-US" dirty="0"/>
            </a:br>
            <a:endParaRPr lang="en-US" dirty="0"/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0BEDBE06-38A2-3CB7-6917-4330C7E9E6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1385" y="0"/>
            <a:ext cx="4689230" cy="6858000"/>
          </a:xfrm>
        </p:spPr>
      </p:pic>
    </p:spTree>
    <p:extLst>
      <p:ext uri="{BB962C8B-B14F-4D97-AF65-F5344CB8AC3E}">
        <p14:creationId xmlns:p14="http://schemas.microsoft.com/office/powerpoint/2010/main" val="622878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E592E-ED8B-C61D-7491-A81D925D0A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5360" y="4404360"/>
            <a:ext cx="10774680" cy="708659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Hub</a:t>
            </a: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LMS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bsyste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B5DA4E-A873-6EE3-B960-F4E27656A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2040" y="5204460"/>
            <a:ext cx="9585960" cy="555540"/>
          </a:xfrm>
        </p:spPr>
        <p:txBody>
          <a:bodyPr/>
          <a:lstStyle/>
          <a:p>
            <a:pPr algn="l"/>
            <a:r>
              <a:rPr lang="en-GB" dirty="0"/>
              <a:t>Khoa Nguyen</a:t>
            </a:r>
          </a:p>
        </p:txBody>
      </p:sp>
      <p:pic>
        <p:nvPicPr>
          <p:cNvPr id="4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A94261E5-A4C9-67D9-3770-DA6219473B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>
          <a:xfrm>
            <a:off x="0" y="1098000"/>
            <a:ext cx="12192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493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420C3F-EB2B-ECDB-D5CC-FEFA24EAC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6858000"/>
          </a:xfrm>
        </p:spPr>
        <p:txBody>
          <a:bodyPr/>
          <a:lstStyle/>
          <a:p>
            <a:pPr algn="ctr"/>
            <a:r>
              <a:rPr lang="en-US" dirty="0"/>
              <a:t>Question and Answ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753232-AD24-041F-489E-4E68A5187B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5008605"/>
            <a:ext cx="11328000" cy="141739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1564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48E77-68B3-4540-C68F-78A270133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12191999" cy="6858000"/>
          </a:xfrm>
        </p:spPr>
        <p:txBody>
          <a:bodyPr/>
          <a:lstStyle/>
          <a:p>
            <a:pPr algn="ctr"/>
            <a:r>
              <a:rPr lang="en-US" dirty="0"/>
              <a:t>Thanks for watch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045AA-120A-3CCF-4CC8-6B5F7E37E5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5346357"/>
            <a:ext cx="11328000" cy="107964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973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5621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CAEEFD-4793-0F8C-EB13-E710D9D38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287A6C-9322-5702-C2EF-9B3AACC8A1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Mind map</a:t>
            </a:r>
          </a:p>
          <a:p>
            <a:r>
              <a:rPr lang="en-US" dirty="0" err="1"/>
              <a:t>Usecase</a:t>
            </a:r>
            <a:r>
              <a:rPr lang="en-US" dirty="0"/>
              <a:t> Diagram</a:t>
            </a:r>
          </a:p>
          <a:p>
            <a:r>
              <a:rPr lang="en-US" dirty="0"/>
              <a:t>UX UI Design / Database</a:t>
            </a:r>
          </a:p>
          <a:p>
            <a:r>
              <a:rPr lang="en-US" dirty="0"/>
              <a:t>Q&amp;A</a:t>
            </a:r>
          </a:p>
          <a:p>
            <a:endParaRPr lang="en-US" dirty="0"/>
          </a:p>
        </p:txBody>
      </p:sp>
      <p:pic>
        <p:nvPicPr>
          <p:cNvPr id="7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D5F91C04-B75B-0D6B-83A6-B5DB257489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>
          <a:xfrm>
            <a:off x="6096000" y="1121294"/>
            <a:ext cx="6096000" cy="57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147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9D90E-67C3-46B6-1990-20FB9BC05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Hub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9FDF28FD-365E-F026-A160-6A2CB56AD3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7005" y="1835855"/>
            <a:ext cx="11437989" cy="3752145"/>
          </a:xfrm>
        </p:spPr>
      </p:pic>
    </p:spTree>
    <p:extLst>
      <p:ext uri="{BB962C8B-B14F-4D97-AF65-F5344CB8AC3E}">
        <p14:creationId xmlns:p14="http://schemas.microsoft.com/office/powerpoint/2010/main" val="14985350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C296E7-5C80-6626-390A-F03CB78EE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M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F1F8B6E-5EE9-677D-CC5A-4915ED81C5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81" y="1894883"/>
            <a:ext cx="11932837" cy="3289593"/>
          </a:xfrm>
        </p:spPr>
      </p:pic>
    </p:spTree>
    <p:extLst>
      <p:ext uri="{BB962C8B-B14F-4D97-AF65-F5344CB8AC3E}">
        <p14:creationId xmlns:p14="http://schemas.microsoft.com/office/powerpoint/2010/main" val="2797408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6F73BE-FC53-4B2A-8B4C-7001B78B3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Usecase</a:t>
            </a: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A169F4F-41B7-4DAE-A6AE-9E3D9F2519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379" y="264160"/>
            <a:ext cx="5472691" cy="6329680"/>
          </a:xfrm>
        </p:spPr>
      </p:pic>
    </p:spTree>
    <p:extLst>
      <p:ext uri="{BB962C8B-B14F-4D97-AF65-F5344CB8AC3E}">
        <p14:creationId xmlns:p14="http://schemas.microsoft.com/office/powerpoint/2010/main" val="20256404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D95739-83EF-2A7C-AC71-D9D614FC8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0"/>
            <a:ext cx="4414320" cy="1098000"/>
          </a:xfrm>
        </p:spPr>
        <p:txBody>
          <a:bodyPr/>
          <a:lstStyle/>
          <a:p>
            <a:r>
              <a:rPr lang="en-US" dirty="0"/>
              <a:t>Mentee - Course Listing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BD3A610-C6FE-2390-F651-D6F46F20E8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811520" y="1504584"/>
            <a:ext cx="6248400" cy="4387497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CC8E5BE-90A3-D86D-23F2-B03DC08532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50039"/>
            <a:ext cx="5077534" cy="5096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0256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E0A96-67CE-B92A-FFB0-996CE175F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Course Listing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1BC78C1-817D-8A7C-6A06-69508E4EE8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48528" y="1391427"/>
            <a:ext cx="6295252" cy="45623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D788630-20C8-63B1-443A-41C00DE11F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24300"/>
            <a:ext cx="5077534" cy="5096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2333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FF039C-FBB8-9019-3773-EF17BE992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Course Details</a:t>
            </a:r>
            <a:br>
              <a:rPr lang="en-US" dirty="0"/>
            </a:br>
            <a:endParaRPr lang="en-US" dirty="0"/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00C5F339-042E-5A1C-C200-D961E8A6C71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557" y="1098000"/>
            <a:ext cx="5837801" cy="4905375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8E870AC-3762-834B-5E06-F76D3AE042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564448"/>
            <a:ext cx="5782482" cy="3972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548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schemas.microsoft.com/office/2006/documentManagement/types"/>
    <ds:schemaRef ds:uri="http://www.w3.org/XML/1998/namespace"/>
    <ds:schemaRef ds:uri="http://schemas.microsoft.com/office/2006/metadata/properties"/>
    <ds:schemaRef ds:uri="680405e6-b67e-4188-afe9-1f6c4cc802d0"/>
    <ds:schemaRef ds:uri="http://purl.org/dc/elements/1.1/"/>
    <ds:schemaRef ds:uri="http://purl.org/dc/dcmitype/"/>
    <ds:schemaRef ds:uri="http://purl.org/dc/terms/"/>
    <ds:schemaRef ds:uri="5a0a5fd8-e554-4dec-ae9e-1a78583e7e41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4255</TotalTime>
  <Words>1934</Words>
  <Application>Microsoft Office PowerPoint</Application>
  <PresentationFormat>Widescreen</PresentationFormat>
  <Paragraphs>79</Paragraphs>
  <Slides>22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bbv template EN</vt:lpstr>
      <vt:lpstr>think-cell Slide</vt:lpstr>
      <vt:lpstr>PowerPoint Presentation</vt:lpstr>
      <vt:lpstr>MentorHub - LMS Subsystem</vt:lpstr>
      <vt:lpstr>Agenda</vt:lpstr>
      <vt:lpstr>Mentor Hub</vt:lpstr>
      <vt:lpstr>LMS</vt:lpstr>
      <vt:lpstr>Usecase</vt:lpstr>
      <vt:lpstr>Mentee - Course Listing</vt:lpstr>
      <vt:lpstr>Mentee - Course Listing</vt:lpstr>
      <vt:lpstr>Mentee - Course Details </vt:lpstr>
      <vt:lpstr>Mentee - Course Details </vt:lpstr>
      <vt:lpstr>Study and discuss </vt:lpstr>
      <vt:lpstr>Mentee - Learning path </vt:lpstr>
      <vt:lpstr>Mentee - Dashboard</vt:lpstr>
      <vt:lpstr>Mentor - dashboard </vt:lpstr>
      <vt:lpstr>Mentor create course </vt:lpstr>
      <vt:lpstr>Mentor create course </vt:lpstr>
      <vt:lpstr>Mentor – create section quiz </vt:lpstr>
      <vt:lpstr>Mentor – create section quiz</vt:lpstr>
      <vt:lpstr>Admin - dashboard </vt:lpstr>
      <vt:lpstr>Question and Answer</vt:lpstr>
      <vt:lpstr>Thanks for watch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Nguyen Vo An Khoa</cp:lastModifiedBy>
  <cp:revision>112</cp:revision>
  <dcterms:created xsi:type="dcterms:W3CDTF">2023-03-02T06:20:39Z</dcterms:created>
  <dcterms:modified xsi:type="dcterms:W3CDTF">2024-07-11T08:1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